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26"/>
  </p:notesMasterIdLst>
  <p:handoutMasterIdLst>
    <p:handoutMasterId r:id="rId27"/>
  </p:handoutMasterIdLst>
  <p:sldIdLst>
    <p:sldId id="418" r:id="rId24"/>
    <p:sldId id="515" r:id="rId25"/>
  </p:sldIdLst>
  <p:sldSz cx="9144000" cy="5143500" type="screen16x9"/>
  <p:notesSz cx="6883400" cy="9906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00D318"/>
    <a:srgbClr val="A02BFF"/>
    <a:srgbClr val="00CEFF"/>
    <a:srgbClr val="EA288C"/>
    <a:srgbClr val="BB0F9A"/>
    <a:srgbClr val="FFFF00"/>
    <a:srgbClr val="FDFD87"/>
    <a:srgbClr val="4D4D4D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3606" autoAdjust="0"/>
  </p:normalViewPr>
  <p:slideViewPr>
    <p:cSldViewPr snapToGrid="0" snapToObjects="1">
      <p:cViewPr>
        <p:scale>
          <a:sx n="125" d="100"/>
          <a:sy n="125" d="100"/>
        </p:scale>
        <p:origin x="264" y="-462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0/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0/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03/10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9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3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89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6" y="274641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2" y="4876007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7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37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5" Type="http://schemas.openxmlformats.org/officeDocument/2006/relationships/slideLayout" Target="../slideLayouts/slideLayout84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1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40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53" r:id="rId9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42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68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14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83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6479951" cy="784225"/>
          </a:xfrm>
        </p:spPr>
        <p:txBody>
          <a:bodyPr/>
          <a:lstStyle/>
          <a:p>
            <a:r>
              <a:rPr lang="pt-BR" dirty="0" smtClean="0"/>
              <a:t>Projetos estratégicos</a:t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29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890305"/>
            <a:ext cx="3979804" cy="213480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-    PG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?? Macro planejamento de ondas do programa 1, depende da abertura de projetos no CA e prioridade global adequada para alocação de recursos e inicio efetivo das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tivida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alta de conhecimento da complexidade/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qt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e regras por TI, com a dependência de definição previa do usuário até o inicio do DSOL.</a:t>
            </a:r>
          </a:p>
          <a:p>
            <a:pPr marL="171450" indent="-171450">
              <a:buFontTx/>
              <a:buChar char="-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 cronograma do programa 2 criado a partir da RFP sem detalhamento dos macro requisitos e insumos informacionai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lelismo de ondas e aderência aos calendários de release OI dependem da definição de requisitos, regras e critérios de aceitação por parte do usuário de fraude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visão de SLA de tempo de resposta de chamada online a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58702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>
                <a:lumMod val="50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2" name="Botão de ação: Informações 107">
            <a:hlinkClick r:id="rId3" action="ppaction://hlinksldjump" highlightClick="1"/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8503801" y="1261325"/>
            <a:ext cx="180000" cy="180000"/>
          </a:xfrm>
          <a:prstGeom prst="actionButtonInformation">
            <a:avLst/>
          </a:prstGeom>
          <a:solidFill>
            <a:srgbClr val="4D4E50">
              <a:lumMod val="20000"/>
              <a:lumOff val="80000"/>
            </a:srgbClr>
          </a:solidFill>
          <a:ln w="9525" cap="flat" cmpd="sng" algn="ctr">
            <a:solidFill>
              <a:srgbClr val="4D4E5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-106" charset="0"/>
              <a:buNone/>
              <a:tabLst/>
              <a:defRPr/>
            </a:pP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7870169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</a:t>
            </a:r>
            <a:r>
              <a:rPr lang="pt-BR" sz="800" i="1">
                <a:latin typeface="Simplon BP Regular"/>
                <a:cs typeface="Simplon BP Regular"/>
              </a:rPr>
              <a:t>- </a:t>
            </a:r>
            <a:r>
              <a:rPr lang="pt-BR" sz="800" i="1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8710521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ograma Novo </a:t>
            </a:r>
            <a:r>
              <a:rPr lang="pt-BR" sz="1600" dirty="0"/>
              <a:t>antifraude RAID-FMS (</a:t>
            </a:r>
            <a:r>
              <a:rPr lang="pt-BR" sz="1600" dirty="0" smtClean="0"/>
              <a:t>PRJ00024387 – INFRA)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915566"/>
            <a:ext cx="397751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b="1" dirty="0" smtClean="0"/>
              <a:t>Frente Infra:</a:t>
            </a:r>
            <a:r>
              <a:rPr lang="pt-BR" sz="1000" dirty="0" smtClean="0"/>
              <a:t>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Aquisição de HW DEV/HML/PRD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t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bertura PRJ infra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16/08/17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G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67</a:t>
            </a:r>
            <a:endParaRPr lang="pt-BR" sz="1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 de Custo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fra DEV/HML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R$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88.504,92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 PR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Em revisão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tatus DEV/HML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uardando inicio DSOL em 16/10, previsão DEV em 14/11;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tatus PR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Em revisão de ETI HW considerando novas premissas volumetria informadas pelo usuário</a:t>
            </a:r>
          </a:p>
          <a:p>
            <a:pPr lvl="0">
              <a:spcAft>
                <a:spcPts val="0"/>
              </a:spcAft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ente Funcional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evantamento e elaboração </a:t>
            </a:r>
            <a:r>
              <a:rPr lang="pt-BR" sz="1000" b="1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lueprin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Realizadas reuniões de levantamento macro de regras, fontes e processos do motor de fraudes em BH.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lueprin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nviado em 02/10. PDP em andamento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tup Programa 1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Abertura e priorização de projetos no CA para as ondas planejadas no programa 1 em andamento pelo usuário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lanejamento e Governança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Validação do macro cronograma RAID-FMS junto às demais áreas de TI impactadas e formalização de governança em andamento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697831"/>
            <a:ext cx="81184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Concluir abertura de priorização de PRJ por onda no CA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(onda 3 ,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e DW);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esp.: Kleyton/Marcio Relacionamento Data: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1/10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evisar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Macro cronograma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da Onda 2 e consolidar atividades de acordo com governança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TI/SI/Operações;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Leandro/Adriana/Cezar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Data: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05/10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Elaborar ETI e CF para aquisição ambiente Produtivo; Resp.: Fabian Data:04/10</a:t>
            </a:r>
            <a:endParaRPr lang="pt-BR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Iniciar DSOL DEV/HML; Resp.: Alexandre Nascimento Data:16/10</a:t>
            </a:r>
          </a:p>
        </p:txBody>
      </p:sp>
    </p:spTree>
    <p:extLst>
      <p:ext uri="{BB962C8B-B14F-4D97-AF65-F5344CB8AC3E}">
        <p14:creationId xmlns:p14="http://schemas.microsoft.com/office/powerpoint/2010/main" val="336976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7Cy1S9E6ATRHa6Z.I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FE43F0-B2E4-4B8F-BB5D-28B2EAB90953}">
  <ds:schemaRefs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0024</TotalTime>
  <Words>279</Words>
  <Application>Microsoft Office PowerPoint</Application>
  <PresentationFormat>Apresentação na tela (16:9)</PresentationFormat>
  <Paragraphs>34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36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s estratégicos  </vt:lpstr>
      <vt:lpstr>Programa Novo antifraude RAID-FMS (PRJ00024387 – INFRA) Escopo: Implementar nova Solução Antifraude na Oi a partir da aplicação RAID-FM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2200</cp:revision>
  <cp:lastPrinted>2017-08-29T20:31:32Z</cp:lastPrinted>
  <dcterms:created xsi:type="dcterms:W3CDTF">2013-05-14T05:19:21Z</dcterms:created>
  <dcterms:modified xsi:type="dcterms:W3CDTF">2017-10-03T20:1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